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4.xml" ContentType="application/vnd.openxmlformats-officedocument.presentationml.notesSlide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tags/tag6.xml" ContentType="application/vnd.openxmlformats-officedocument.presentationml.tags+xml"/>
  <Override PartName="/ppt/ink/ink13.xml" ContentType="application/inkml+xml"/>
  <Override PartName="/ppt/ink/ink14.xml" ContentType="application/inkml+xml"/>
  <Override PartName="/ppt/tags/tag7.xml" ContentType="application/vnd.openxmlformats-officedocument.presentationml.tags+xml"/>
  <Override PartName="/ppt/ink/ink15.xml" ContentType="application/inkml+xml"/>
  <Override PartName="/ppt/ink/ink16.xml" ContentType="application/inkml+xml"/>
  <Override PartName="/ppt/tags/tag8.xml" ContentType="application/vnd.openxmlformats-officedocument.presentationml.tags+xml"/>
  <Override PartName="/ppt/ink/ink1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8" r:id="rId1"/>
  </p:sldMasterIdLst>
  <p:notesMasterIdLst>
    <p:notesMasterId r:id="rId33"/>
  </p:notesMasterIdLst>
  <p:sldIdLst>
    <p:sldId id="256" r:id="rId2"/>
    <p:sldId id="275" r:id="rId3"/>
    <p:sldId id="276" r:id="rId4"/>
    <p:sldId id="293" r:id="rId5"/>
    <p:sldId id="294" r:id="rId6"/>
    <p:sldId id="292" r:id="rId7"/>
    <p:sldId id="279" r:id="rId8"/>
    <p:sldId id="295" r:id="rId9"/>
    <p:sldId id="297" r:id="rId10"/>
    <p:sldId id="277" r:id="rId11"/>
    <p:sldId id="307" r:id="rId12"/>
    <p:sldId id="288" r:id="rId13"/>
    <p:sldId id="306" r:id="rId14"/>
    <p:sldId id="296" r:id="rId15"/>
    <p:sldId id="280" r:id="rId16"/>
    <p:sldId id="282" r:id="rId17"/>
    <p:sldId id="283" r:id="rId18"/>
    <p:sldId id="285" r:id="rId19"/>
    <p:sldId id="299" r:id="rId20"/>
    <p:sldId id="286" r:id="rId21"/>
    <p:sldId id="284" r:id="rId22"/>
    <p:sldId id="302" r:id="rId23"/>
    <p:sldId id="303" r:id="rId24"/>
    <p:sldId id="289" r:id="rId25"/>
    <p:sldId id="300" r:id="rId26"/>
    <p:sldId id="290" r:id="rId27"/>
    <p:sldId id="301" r:id="rId28"/>
    <p:sldId id="291" r:id="rId29"/>
    <p:sldId id="305" r:id="rId30"/>
    <p:sldId id="304" r:id="rId31"/>
    <p:sldId id="298" r:id="rId32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7584" autoAdjust="0"/>
  </p:normalViewPr>
  <p:slideViewPr>
    <p:cSldViewPr snapToGrid="0">
      <p:cViewPr varScale="1">
        <p:scale>
          <a:sx n="110" d="100"/>
          <a:sy n="110" d="100"/>
        </p:scale>
        <p:origin x="114" y="7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42.6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0"0,1 0,-1 1,0-1,1 0,0 0,-1 1,1-1,0 0,-1 0,1 0,0 0,0 0,0 0,0 0,0-1,0 1,0 0,1 0,-1-1,0 1,0-1,2 2,34 10,-32-11,49 11,-1-2,96 4,114-11,-143-4,2059-1,-1555-11,-46 0,113 1,88 0,1865 13,-1848 24,-87-1,-158-12,147 0,1047-13,-1693 5,-1 2,0 2,0 2,53 19,-71-20,153 40,-160-39,-25-10,0 0,0 1,-1-1,1 1,0 0,0-1,-1 1,1 0,0-1,-1 1,1 0,-1 0,1-1,-1 1,1 0,-1 0,0 0,1 0,-1 0,0 0,0 0,1-1,-1 1,0 0,0 0,0 1,-4 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22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2,'289'-23,"-140"8,1082-45,6 57,-792 5,1517 22,-1333 2,-53-2,-563-23,31-1,0 3,44 8,-40-4,74 0,-20-1,321 30,-396-34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2.4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5,'15'-1,"0"0,-1-1,23-7,-1 1,51-9,470-71,266 59,2 49,825 74,-517-23,-886-58,824 20,-1039-3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4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945'13,"-22"-1,2342-13,-3218 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7.6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4,'16'-1,"0"0,-1-2,24-5,16-3,978-64,6 73,-471 6,-56-22,132 10,-369 10,-34-2,-219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4.76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3,'2780'0,"-2196"-25,-322 10,-43 1,212-5,-156 19,-255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1.55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5,'1879'-34,"-96"-6,-1607 53,5 0,-163-12,0 1,30 7,26 2,129 9,-179-18,-3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3.19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9,'0'-2,"1"0,-1 0,1 0,0 1,0-1,0 0,0 0,0 1,0-1,0 1,0-1,1 1,-1-1,1 1,-1 0,1 0,0 0,-1-1,1 2,0-1,0 0,3-1,45-15,10 7,0 1,0 4,0 2,62 5,-30-2,1834 57,-1172-25,-568-25,396-3,-381-4,227-37,-289 19,168 0,-286 18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15:33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883'38,"-764"-9,-780-23,1471 47,-1728-50,152 14,-209-12,-12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1.9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38'-2,"258"4,-304 10,88 1,595-14,-85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3.7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474'-12,"6"0,21 13,-480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4.9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0'-4,"4"-1,6 0,5 1,4 1,2 1,7 1,3 1,3 4,5 1,0 1,1-2,-1-1,-4-1,-8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1.6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700'44,"-401"-18,131 9,452 31,6-42,-787-26,521-22,718-47,-1133 69,350 41,-430-27,-107-1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3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122 219,'-899'-49,"295"8,-818 9,475-19,758 35,63 5,-138-7,-824 19,1048 0,-52 10,51-5,-55 1,69-7,0 1,0 1,-46 9,-70 14,126-2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3.8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629'12,"-245"-2,1057 30,-969-25,6 3,693 9,-1143-26,0 2,0 1,0 1,42 13,-23-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5.0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487 50,'-926'-15,"414"5,83 2,-1079-8,843 36,154 24,68-15,-73-22,296-10,-512 3,707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5.35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891'29,"-113"9,-729-36,893 3,-547-6,-240-12,-12 1,582 11,-350 3,-355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3C257D-F3AE-4FB7-8A04-75A5F2C2E5F5}" type="datetimeFigureOut">
              <a:rPr lang="pt-BR" smtClean="0"/>
              <a:t>05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BD427-C6EA-4731-8E97-F41B1E06D6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90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generated/sklearn.feature_extraction.text.CountVectorizer.html#sklearn.feature_extraction.text.CountVectorizer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scikit-learn.org/stable/modules/generated/sklearn.feature_extraction.text.TfidfTransformer.html#sklearn.feature_extraction.text.TfidfTransformer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PI do BC não é das melhores</a:t>
            </a:r>
          </a:p>
          <a:p>
            <a:r>
              <a:rPr lang="pt-BR" dirty="0"/>
              <a:t>Faltam documentos</a:t>
            </a:r>
          </a:p>
          <a:p>
            <a:r>
              <a:rPr lang="pt-BR" dirty="0"/>
              <a:t>Não tem muito padrão: lista de atas não informava a data corretamente, os comunicados não tinha o número da reuniã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6655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topwords</a:t>
            </a:r>
            <a:r>
              <a:rPr lang="pt-BR" dirty="0"/>
              <a:t> era justamente: Sem viés ou com vié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7589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Fiz vários testes, </a:t>
            </a:r>
            <a:r>
              <a:rPr lang="pt-BR" dirty="0" err="1"/>
              <a:t>pq</a:t>
            </a:r>
            <a:r>
              <a:rPr lang="pt-BR" dirty="0"/>
              <a:t> a base era pequena, em português</a:t>
            </a:r>
            <a:br>
              <a:rPr lang="pt-BR" dirty="0"/>
            </a:br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indicação de </a:t>
            </a:r>
            <a:r>
              <a:rPr lang="pt-BR" dirty="0" err="1"/>
              <a:t>overfitting</a:t>
            </a:r>
            <a:endParaRPr lang="pt-BR" dirty="0"/>
          </a:p>
          <a:p>
            <a:r>
              <a:rPr lang="pt-BR" b="1" dirty="0"/>
              <a:t>SVM </a:t>
            </a:r>
            <a:r>
              <a:rPr lang="pt-BR" dirty="0"/>
              <a:t>Resultados em inglês foram satisfatórios; em português, ficaram abaixo</a:t>
            </a:r>
          </a:p>
          <a:p>
            <a:r>
              <a:rPr lang="pt-BR" b="1" dirty="0"/>
              <a:t>LDA</a:t>
            </a:r>
            <a:r>
              <a:rPr lang="pt-BR" dirty="0"/>
              <a:t> não supervisionado para extração de </a:t>
            </a:r>
            <a:r>
              <a:rPr lang="pt-BR" dirty="0" err="1"/>
              <a:t>labels</a:t>
            </a:r>
            <a:r>
              <a:rPr lang="pt-BR" dirty="0"/>
              <a:t>: resultados não satisfatórios</a:t>
            </a:r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r>
              <a:rPr lang="pt-BR" b="1" dirty="0"/>
              <a:t>BERT/</a:t>
            </a:r>
            <a:r>
              <a:rPr lang="pt-BR" b="1" dirty="0" err="1"/>
              <a:t>roBERTa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7455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none" strike="noStrike" dirty="0" err="1">
                <a:solidFill>
                  <a:srgbClr val="2878A2"/>
                </a:solidFill>
                <a:effectLst/>
                <a:hlinkClick r:id="rId3" tooltip="sklearn.feature_extraction.text.CountVectorizer"/>
              </a:rPr>
              <a:t>CountVectorizer</a:t>
            </a:r>
            <a:r>
              <a:rPr lang="en-US" dirty="0" err="1">
                <a:effectLst/>
              </a:rPr>
              <a:t>Transforms</a:t>
            </a:r>
            <a:r>
              <a:rPr lang="en-US" dirty="0">
                <a:effectLst/>
              </a:rPr>
              <a:t> text into a sparse matrix of n-gram counts.</a:t>
            </a:r>
          </a:p>
          <a:p>
            <a:r>
              <a:rPr lang="en-US" u="none" strike="noStrike" dirty="0" err="1">
                <a:solidFill>
                  <a:srgbClr val="2878A2"/>
                </a:solidFill>
                <a:effectLst/>
                <a:hlinkClick r:id="rId4" tooltip="sklearn.feature_extraction.text.TfidfTransformer"/>
              </a:rPr>
              <a:t>TfidfTransformer</a:t>
            </a:r>
            <a:r>
              <a:rPr lang="en-US" dirty="0" err="1">
                <a:effectLst/>
              </a:rPr>
              <a:t>Performs</a:t>
            </a:r>
            <a:r>
              <a:rPr lang="en-US" dirty="0">
                <a:effectLst/>
              </a:rPr>
              <a:t> the TF-IDF transformation from a provided matrix of counts.</a:t>
            </a:r>
          </a:p>
          <a:p>
            <a:r>
              <a:rPr lang="en-US" dirty="0">
                <a:effectLst/>
              </a:rPr>
              <a:t>https://scikit-learn.org/stable/modules/generated/sklearn.feature_extraction.text.TfidfVectorizer.html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1347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684E61-0350-797E-001D-CA67D9346A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75F779-8668-7A5E-49C3-CEA9B60F81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26A52B9-FFEF-9058-F1A6-0F939CD5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2A2D82E-3CA3-5198-7DBA-07A4F200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D832EF-960A-415E-394B-F26DD5F1E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7A378D-BB8E-C046-96D9-E0364DF8E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434F0E0-1300-39D5-D0E2-5172CE95E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EEC0BA-5739-59D1-0421-E7367237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206C11-82C3-6729-C433-0ECEE39FB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EAC774A-250D-E607-E8DD-AEB394BF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89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B081EEF-A437-914F-2836-A6C4A1B3CA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051D00F-AC64-547C-2686-2A51080DB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8AAE96F-6B88-5487-F02E-99C1BC67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1B8587-F922-AA47-AC9B-FD16928A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B6B88D3-0C60-19DA-F066-764010FC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0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0F8546-3085-A373-61E0-AFB86DAB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4161EE-16F4-CBC1-087C-3E82C288F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CA3619-B839-65C3-F7F2-65688D2A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469964-3209-F0C8-72BD-4548ED13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43C858-36E6-C06A-5850-D3443B622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1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68801-EB9F-49D3-F57F-93750D90A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090829-8BDE-CE75-EEC2-3EBA813CA7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E4E2D3-C0F3-AD97-E7C3-1E16B7EDA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C00A4A8-2D95-E71F-C4A0-49C1C835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46B008-619E-4CDF-FB22-C7730620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06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675720-D7A6-6ECF-8144-E8115A7C7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9A8966-18BE-922B-0B8F-80FCC3A6B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784A7E8-5D63-6699-5894-240F203BD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D8A0E86-B162-80BD-30A4-3B5C0F9D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89FFAC-DE57-7B0E-FAF8-E917AD16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384704-5E75-D879-4C6B-AA5620DB6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87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77C53-A05D-2654-01A9-0BA6B29AB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0A0F15-3D2F-DDB0-17F9-197E2CD0F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BCAE4A1-7738-EC15-85E7-651E47FFE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5CE458C-333D-1CB0-7AEE-03022A735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F37DB0F-62FA-0A9F-0B77-E00696949E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5988FE-A494-ECBC-B183-625A378A8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7E5CE29-EE06-564F-D97B-46FF623BA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6F54B77-4360-761B-D594-CF2D3931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BCC2F8-B8BC-8E1E-60CC-F44AE8F96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D8D804E-C84F-5A1A-9063-AB54573B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A72C30-A0AF-4F4B-1F2C-0F9CA635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056DDF5-A73E-2F9A-18C7-5E79AE352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3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766E94-C8D2-4A83-403C-D470D8C13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3F018EF-FBEA-1443-E640-402E67FB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5CBB24-AD65-84D3-3374-177CB6B5F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67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B4479-ECFA-91A8-4B08-F2C7C7E4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C7E802-DD20-5E5E-F369-281859F8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5E9D3BC-4AB1-9C42-1366-82D80EC74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9A60B38-BCB3-335C-89D2-917CF852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F30276-BE36-4CC1-B83F-30BA2ADE8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BE1C2FD-05B8-E329-B5D0-0B50470B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5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8E6F67-BA5E-A25A-5F74-F5E85453D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3112E14-E4C4-D99D-01AD-9D37C69A6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FE27AA0-18B9-B265-B805-B1235BB67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1DCF7C2-8493-23AB-5431-243A52D12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4091E4B-BCE6-D3A9-2543-E01FA4C1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F48068C-2E60-979D-C58D-E64FFBA4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A05AF28-1D47-A8ED-58C1-85208A6A1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157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06" imgH="411" progId="TCLayout.ActiveDocument.1">
                  <p:embed/>
                </p:oleObj>
              </mc:Choice>
              <mc:Fallback>
                <p:oleObj name="Slide do think-cell" r:id="rId14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37D0B1E-E208-44A8-5C3D-F516416E3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29A4FE1-1E78-B7A2-2BBD-A70D591496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160FB1-01AA-521D-F7CE-EBE95463CB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DF2E86C-0721-4C0B-8586-B4A23B38B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BF25F8-FF8E-9454-E7C1-6A5D1F378E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0.png"/><Relationship Id="rId5" Type="http://schemas.openxmlformats.org/officeDocument/2006/relationships/customXml" Target="../ink/ink6.xml"/><Relationship Id="rId4" Type="http://schemas.openxmlformats.org/officeDocument/2006/relationships/image" Target="../media/image1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0.png"/><Relationship Id="rId5" Type="http://schemas.openxmlformats.org/officeDocument/2006/relationships/customXml" Target="../ink/ink8.xml"/><Relationship Id="rId4" Type="http://schemas.openxmlformats.org/officeDocument/2006/relationships/image" Target="../media/image20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openxmlformats.org/officeDocument/2006/relationships/customXml" Target="../ink/ink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customXml" Target="../ink/ink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2.xml"/><Relationship Id="rId5" Type="http://schemas.openxmlformats.org/officeDocument/2006/relationships/image" Target="../media/image35.png"/><Relationship Id="rId4" Type="http://schemas.openxmlformats.org/officeDocument/2006/relationships/customXml" Target="../ink/ink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3.xml"/><Relationship Id="rId5" Type="http://schemas.openxmlformats.org/officeDocument/2006/relationships/image" Target="../media/image32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customXml" Target="../ink/ink1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10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customXml" Target="../ink/ink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ustomXml" Target="../ink/ink17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customXml" Target="../ink/ink4.xm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12191990" cy="455102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2CFF8F-2B88-6FA3-2F80-391C2603A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5558" y="637762"/>
            <a:ext cx="9889797" cy="3574937"/>
          </a:xfrm>
        </p:spPr>
        <p:txBody>
          <a:bodyPr anchor="ctr">
            <a:normAutofit/>
          </a:bodyPr>
          <a:lstStyle/>
          <a:p>
            <a:pPr algn="l"/>
            <a:r>
              <a:rPr lang="pt-BR" sz="4600" dirty="0">
                <a:solidFill>
                  <a:schemeClr val="bg1"/>
                </a:solidFill>
              </a:rPr>
              <a:t>Análise de sentimento dos documentos do Banco Central utilizando Natural Language Processing em Python</a:t>
            </a:r>
            <a:br>
              <a:rPr lang="pt-BR" sz="4600" dirty="0">
                <a:solidFill>
                  <a:schemeClr val="bg1"/>
                </a:solidFill>
              </a:rPr>
            </a:br>
            <a:br>
              <a:rPr lang="pt-BR" sz="4600" dirty="0">
                <a:solidFill>
                  <a:schemeClr val="bg1"/>
                </a:solidFill>
              </a:rPr>
            </a:br>
            <a:r>
              <a:rPr lang="en-US" sz="3600" b="1" dirty="0">
                <a:solidFill>
                  <a:schemeClr val="bg1"/>
                </a:solidFill>
              </a:rPr>
              <a:t>Fernando Travaglini - Bloomberg</a:t>
            </a:r>
            <a:endParaRPr lang="pt-BR" sz="3600" b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51035"/>
            <a:ext cx="12191990" cy="2306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719F96-8669-8AD4-B464-6496EB2D2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9200" y="4957943"/>
            <a:ext cx="9892937" cy="1262295"/>
          </a:xfrm>
        </p:spPr>
        <p:txBody>
          <a:bodyPr anchor="t">
            <a:normAutofit/>
          </a:bodyPr>
          <a:lstStyle/>
          <a:p>
            <a:pPr algn="l"/>
            <a:r>
              <a:rPr lang="pt-BR" sz="3400" dirty="0"/>
              <a:t>Projeto de conclusão do </a:t>
            </a:r>
            <a:r>
              <a:rPr lang="pt-BR" sz="3400" i="1" dirty="0"/>
              <a:t>Programa Avançado em Data Science e Decisão</a:t>
            </a:r>
            <a:r>
              <a:rPr lang="pt-BR" sz="3400" dirty="0"/>
              <a:t> do </a:t>
            </a:r>
            <a:r>
              <a:rPr lang="pt-BR" sz="3400" b="1" dirty="0"/>
              <a:t>Insper</a:t>
            </a:r>
            <a:endParaRPr lang="en-US" sz="3400" b="1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61180" y="4866503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8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LP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Modelos de análise de texto existe desde os anos 50</a:t>
            </a:r>
          </a:p>
          <a:p>
            <a:endParaRPr lang="pt-BR" dirty="0"/>
          </a:p>
          <a:p>
            <a:r>
              <a:rPr lang="pt-BR" dirty="0"/>
              <a:t>Primeiros eram baseados em regras para cada tarefa e exigia conhecimentos de linguística</a:t>
            </a:r>
          </a:p>
          <a:p>
            <a:endParaRPr lang="pt-BR" dirty="0"/>
          </a:p>
          <a:p>
            <a:r>
              <a:rPr lang="pt-BR" dirty="0"/>
              <a:t>Depois vieram os modelos de </a:t>
            </a:r>
            <a:r>
              <a:rPr lang="pt-BR" dirty="0" err="1"/>
              <a:t>statistical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mais “tradicionais”, como SVM, árvore </a:t>
            </a:r>
            <a:r>
              <a:rPr lang="pt-BR" dirty="0" err="1"/>
              <a:t>etc</a:t>
            </a:r>
            <a:endParaRPr lang="pt-BR" dirty="0"/>
          </a:p>
          <a:p>
            <a:endParaRPr lang="pt-BR" dirty="0"/>
          </a:p>
        </p:txBody>
      </p:sp>
      <p:pic>
        <p:nvPicPr>
          <p:cNvPr id="5" name="Imagem 4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5CBEB44B-4E38-0F20-15CC-D57F7ABA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/>
          <a:stretch/>
        </p:blipFill>
        <p:spPr>
          <a:xfrm>
            <a:off x="152636" y="2442603"/>
            <a:ext cx="3429478" cy="1505160"/>
          </a:xfrm>
          <a:prstGeom prst="rect">
            <a:avLst/>
          </a:prstGeom>
        </p:spPr>
      </p:pic>
      <p:pic>
        <p:nvPicPr>
          <p:cNvPr id="7" name="Imagem 6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4FC78EFB-7734-45E2-9A81-D4D2EAA16B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36" y="4576488"/>
            <a:ext cx="3391373" cy="196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800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LP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Cenário começou a mudar com o pré-processamento via </a:t>
            </a:r>
            <a:r>
              <a:rPr lang="pt-BR" b="1" i="1" dirty="0"/>
              <a:t>word </a:t>
            </a:r>
            <a:r>
              <a:rPr lang="pt-BR" b="1" i="1" dirty="0" err="1"/>
              <a:t>embedding</a:t>
            </a:r>
            <a:r>
              <a:rPr lang="pt-BR" b="1" i="1" dirty="0"/>
              <a:t> </a:t>
            </a:r>
            <a:r>
              <a:rPr lang="pt-BR" dirty="0"/>
              <a:t>e uso de </a:t>
            </a:r>
            <a:r>
              <a:rPr lang="pt-BR" b="1" dirty="0"/>
              <a:t>redes neurais</a:t>
            </a:r>
          </a:p>
          <a:p>
            <a:endParaRPr lang="pt-BR" dirty="0"/>
          </a:p>
          <a:p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 levam em conta o contexto:</a:t>
            </a:r>
          </a:p>
          <a:p>
            <a:endParaRPr lang="pt-BR" dirty="0"/>
          </a:p>
        </p:txBody>
      </p:sp>
      <p:pic>
        <p:nvPicPr>
          <p:cNvPr id="5" name="Imagem 4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5CBEB44B-4E38-0F20-15CC-D57F7ABA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/>
          <a:stretch/>
        </p:blipFill>
        <p:spPr>
          <a:xfrm>
            <a:off x="152636" y="2442603"/>
            <a:ext cx="3429478" cy="1505160"/>
          </a:xfrm>
          <a:prstGeom prst="rect">
            <a:avLst/>
          </a:prstGeom>
        </p:spPr>
      </p:pic>
      <p:pic>
        <p:nvPicPr>
          <p:cNvPr id="7" name="Imagem 6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4FC78EFB-7734-45E2-9A81-D4D2EAA16B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36" y="4576488"/>
            <a:ext cx="3391373" cy="1962424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7E017F0F-2106-2094-57EE-D97AA3E2A060}"/>
              </a:ext>
            </a:extLst>
          </p:cNvPr>
          <p:cNvSpPr/>
          <p:nvPr/>
        </p:nvSpPr>
        <p:spPr>
          <a:xfrm>
            <a:off x="5635518" y="4315518"/>
            <a:ext cx="4650378" cy="70261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6A0EDC42-877F-304B-6091-14122BF9FED3}"/>
              </a:ext>
            </a:extLst>
          </p:cNvPr>
          <p:cNvSpPr txBox="1"/>
          <p:nvPr/>
        </p:nvSpPr>
        <p:spPr>
          <a:xfrm>
            <a:off x="4956267" y="4374437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pt-BR" sz="2800" dirty="0"/>
              <a:t>king – </a:t>
            </a:r>
            <a:r>
              <a:rPr lang="pt-BR" sz="2800" dirty="0" err="1"/>
              <a:t>man</a:t>
            </a:r>
            <a:r>
              <a:rPr lang="pt-BR" sz="2800" dirty="0"/>
              <a:t> + </a:t>
            </a:r>
            <a:r>
              <a:rPr lang="pt-BR" sz="2800" dirty="0" err="1"/>
              <a:t>woman</a:t>
            </a:r>
            <a:r>
              <a:rPr lang="pt-BR" sz="2800" dirty="0"/>
              <a:t> = queen</a:t>
            </a:r>
          </a:p>
        </p:txBody>
      </p:sp>
    </p:spTree>
    <p:extLst>
      <p:ext uri="{BB962C8B-B14F-4D97-AF65-F5344CB8AC3E}">
        <p14:creationId xmlns:p14="http://schemas.microsoft.com/office/powerpoint/2010/main" val="1389552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2</a:t>
            </a:fld>
            <a:endParaRPr lang="en-US" dirty="0"/>
          </a:p>
        </p:txBody>
      </p:sp>
      <p:pic>
        <p:nvPicPr>
          <p:cNvPr id="6" name="Imagem 5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F9DD253-D37D-F8EE-D9AB-E71DF27751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154" y="637762"/>
            <a:ext cx="7802064" cy="6077798"/>
          </a:xfrm>
          <a:prstGeom prst="rect">
            <a:avLst/>
          </a:prstGeom>
        </p:spPr>
      </p:pic>
      <p:pic>
        <p:nvPicPr>
          <p:cNvPr id="4" name="Imagem 3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A2D72332-12A8-DFB1-390A-8CD9684B1E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552" y="4450001"/>
            <a:ext cx="3381847" cy="208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Foram analisados os </a:t>
            </a:r>
            <a:r>
              <a:rPr lang="pt-BR" b="1" dirty="0">
                <a:highlight>
                  <a:srgbClr val="C0C0C0"/>
                </a:highlight>
              </a:rPr>
              <a:t>comunicados</a:t>
            </a:r>
            <a:r>
              <a:rPr lang="pt-BR" dirty="0"/>
              <a:t> e as </a:t>
            </a:r>
            <a:r>
              <a:rPr lang="pt-BR" b="1" dirty="0">
                <a:highlight>
                  <a:srgbClr val="C0C0C0"/>
                </a:highlight>
              </a:rPr>
              <a:t>atas do Copom</a:t>
            </a:r>
          </a:p>
          <a:p>
            <a:endParaRPr lang="pt-BR" dirty="0"/>
          </a:p>
          <a:p>
            <a:r>
              <a:rPr lang="pt-BR" dirty="0"/>
              <a:t>Recorte adotado é o início do modelo de metas de inflação em </a:t>
            </a:r>
            <a:r>
              <a:rPr lang="pt-BR" b="1" dirty="0"/>
              <a:t>1999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Recentemente, o BC passou a publicar os documentos também em </a:t>
            </a:r>
            <a:r>
              <a:rPr lang="pt-BR" b="1" dirty="0"/>
              <a:t>inglês</a:t>
            </a:r>
            <a:r>
              <a:rPr lang="pt-BR" dirty="0"/>
              <a:t>, o que possibilita a </a:t>
            </a:r>
            <a:r>
              <a:rPr lang="pt-BR" b="1" dirty="0"/>
              <a:t>comparação</a:t>
            </a:r>
            <a:r>
              <a:rPr lang="pt-BR" dirty="0"/>
              <a:t> do desempenho dos modelos nas duas línguas.</a:t>
            </a:r>
          </a:p>
        </p:txBody>
      </p:sp>
    </p:spTree>
    <p:extLst>
      <p:ext uri="{BB962C8B-B14F-4D97-AF65-F5344CB8AC3E}">
        <p14:creationId xmlns:p14="http://schemas.microsoft.com/office/powerpoint/2010/main" val="2287549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4</a:t>
            </a:fld>
            <a:endParaRPr lang="en-US" dirty="0"/>
          </a:p>
        </p:txBody>
      </p:sp>
      <p:pic>
        <p:nvPicPr>
          <p:cNvPr id="12" name="Imagem 11" descr="Texto&#10;&#10;Descrição gerada automaticamente com confiança média">
            <a:extLst>
              <a:ext uri="{FF2B5EF4-FFF2-40B4-BE49-F238E27FC236}">
                <a16:creationId xmlns:a16="http://schemas.microsoft.com/office/drawing/2014/main" id="{75FD211B-B4DA-BDC2-985E-2F6221D43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93" y="0"/>
            <a:ext cx="8451607" cy="3614426"/>
          </a:xfrm>
          <a:prstGeom prst="rect">
            <a:avLst/>
          </a:prstGeom>
        </p:spPr>
      </p:pic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4110447"/>
            <a:ext cx="6699067" cy="224590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A base de dados em português é composta por </a:t>
            </a:r>
            <a:r>
              <a:rPr lang="pt-BR" b="1" dirty="0"/>
              <a:t>209 comunicados </a:t>
            </a:r>
            <a:r>
              <a:rPr lang="pt-BR" dirty="0"/>
              <a:t>e </a:t>
            </a:r>
            <a:r>
              <a:rPr lang="pt-BR" b="1" dirty="0"/>
              <a:t>202 atas do Copom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sz="2600" dirty="0"/>
              <a:t>A base em inglês é menor, com </a:t>
            </a:r>
            <a:r>
              <a:rPr lang="pt-BR" sz="2600" b="1" dirty="0"/>
              <a:t>140 comunicados </a:t>
            </a:r>
            <a:r>
              <a:rPr lang="pt-BR" sz="2600" dirty="0"/>
              <a:t>e </a:t>
            </a:r>
            <a:r>
              <a:rPr lang="pt-BR" sz="2600" b="1" dirty="0"/>
              <a:t>23 atas do Copom</a:t>
            </a:r>
            <a:r>
              <a:rPr lang="pt-BR" sz="2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132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bel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4469" y="1332650"/>
            <a:ext cx="4186132" cy="4881882"/>
          </a:xfrm>
        </p:spPr>
        <p:txBody>
          <a:bodyPr>
            <a:normAutofit/>
          </a:bodyPr>
          <a:lstStyle/>
          <a:p>
            <a:r>
              <a:rPr lang="pt-BR" b="1" dirty="0">
                <a:highlight>
                  <a:srgbClr val="C0C0C0"/>
                </a:highlight>
              </a:rPr>
              <a:t>Classificar</a:t>
            </a:r>
            <a:r>
              <a:rPr lang="pt-BR" dirty="0"/>
              <a:t> pelo tom: </a:t>
            </a:r>
          </a:p>
          <a:p>
            <a:pPr lvl="1"/>
            <a:r>
              <a:rPr lang="pt-BR" b="1" dirty="0"/>
              <a:t>Hawkish</a:t>
            </a:r>
          </a:p>
          <a:p>
            <a:pPr lvl="1"/>
            <a:r>
              <a:rPr lang="pt-BR" b="1" dirty="0"/>
              <a:t>Dovish</a:t>
            </a:r>
          </a:p>
          <a:p>
            <a:pPr lvl="1"/>
            <a:r>
              <a:rPr lang="pt-BR" b="1" dirty="0"/>
              <a:t>Neutro</a:t>
            </a:r>
          </a:p>
          <a:p>
            <a:endParaRPr lang="pt-BR" b="1" dirty="0"/>
          </a:p>
          <a:p>
            <a:r>
              <a:rPr lang="pt-BR" b="1" dirty="0">
                <a:highlight>
                  <a:srgbClr val="C0C0C0"/>
                </a:highlight>
              </a:rPr>
              <a:t>Estimar</a:t>
            </a:r>
            <a:r>
              <a:rPr lang="pt-BR" dirty="0"/>
              <a:t> </a:t>
            </a:r>
            <a:r>
              <a:rPr lang="pt-BR" sz="2900" dirty="0"/>
              <a:t>próxima decisão:</a:t>
            </a:r>
          </a:p>
          <a:p>
            <a:pPr lvl="1"/>
            <a:r>
              <a:rPr lang="pt-BR" sz="2500" b="1" dirty="0"/>
              <a:t>Elevar</a:t>
            </a:r>
          </a:p>
          <a:p>
            <a:pPr lvl="1"/>
            <a:r>
              <a:rPr lang="pt-BR" sz="2500" b="1" dirty="0"/>
              <a:t>Cortar</a:t>
            </a:r>
          </a:p>
          <a:p>
            <a:pPr lvl="1"/>
            <a:r>
              <a:rPr lang="pt-BR" sz="2500" b="1" dirty="0"/>
              <a:t>Manter</a:t>
            </a:r>
            <a:endParaRPr lang="pt-BR" sz="2500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6354323-6BC7-D263-9B9C-43D471D1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61D6A7E-63C2-A094-AF8F-322EDF8C9EE1}"/>
              </a:ext>
            </a:extLst>
          </p:cNvPr>
          <p:cNvGrpSpPr/>
          <p:nvPr/>
        </p:nvGrpSpPr>
        <p:grpSpPr>
          <a:xfrm>
            <a:off x="8610600" y="1065520"/>
            <a:ext cx="2902108" cy="4721253"/>
            <a:chOff x="461555" y="1562178"/>
            <a:chExt cx="3060528" cy="4978976"/>
          </a:xfrm>
        </p:grpSpPr>
        <p:pic>
          <p:nvPicPr>
            <p:cNvPr id="11" name="Imagem 10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8B774903-FD3F-C315-2CFF-46C93AA9B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" r="50007"/>
            <a:stretch/>
          </p:blipFill>
          <p:spPr>
            <a:xfrm>
              <a:off x="461555" y="1562178"/>
              <a:ext cx="3060528" cy="2512209"/>
            </a:xfrm>
            <a:prstGeom prst="rect">
              <a:avLst/>
            </a:prstGeom>
          </p:spPr>
        </p:pic>
        <p:pic>
          <p:nvPicPr>
            <p:cNvPr id="14" name="Imagem 13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22E3623E-6852-5720-C7DD-769E8875E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126"/>
            <a:stretch/>
          </p:blipFill>
          <p:spPr>
            <a:xfrm>
              <a:off x="461555" y="4086562"/>
              <a:ext cx="3060528" cy="2454592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D5BF0092-F178-87DC-C9A8-C041E2DF9BAE}"/>
              </a:ext>
            </a:extLst>
          </p:cNvPr>
          <p:cNvSpPr txBox="1"/>
          <p:nvPr/>
        </p:nvSpPr>
        <p:spPr>
          <a:xfrm>
            <a:off x="18813" y="3215278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rgbClr val="FFFF00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rgbClr val="FFFF00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</p:spTree>
    <p:extLst>
      <p:ext uri="{BB962C8B-B14F-4D97-AF65-F5344CB8AC3E}">
        <p14:creationId xmlns:p14="http://schemas.microsoft.com/office/powerpoint/2010/main" val="152112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eb-scrap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C79D37-E972-8BFF-F5A4-04905A3D2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5" b="7013"/>
          <a:stretch/>
        </p:blipFill>
        <p:spPr>
          <a:xfrm>
            <a:off x="4382199" y="0"/>
            <a:ext cx="7167973" cy="6858000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41854A-DE5C-B8CE-EB20-EEF610CE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2624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637762"/>
            <a:ext cx="3084875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Processamento</a:t>
            </a:r>
            <a:r>
              <a:rPr lang="en-US" sz="3600" dirty="0">
                <a:solidFill>
                  <a:schemeClr val="bg1"/>
                </a:solidFill>
              </a:rPr>
              <a:t> dos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FE09BC2C-9CBA-A398-7A43-44AEB8393C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4" b="18946"/>
          <a:stretch/>
        </p:blipFill>
        <p:spPr>
          <a:xfrm>
            <a:off x="4502331" y="-1"/>
            <a:ext cx="6583680" cy="6858001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4DB8DAA-2C72-23C9-3162-E3A2361DE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21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3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Modelo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de </a:t>
            </a:r>
            <a:r>
              <a:rPr lang="en-US" sz="3600" dirty="0" err="1">
                <a:solidFill>
                  <a:schemeClr val="bg1"/>
                </a:solidFill>
              </a:rPr>
              <a:t>classificaçã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1332650"/>
            <a:ext cx="6699067" cy="5023700"/>
          </a:xfrm>
        </p:spPr>
        <p:txBody>
          <a:bodyPr>
            <a:normAutofit lnSpcReduction="10000"/>
          </a:bodyPr>
          <a:lstStyle/>
          <a:p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</a:t>
            </a:r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</a:t>
            </a:r>
          </a:p>
          <a:p>
            <a:endParaRPr lang="pt-BR" dirty="0"/>
          </a:p>
          <a:p>
            <a:r>
              <a:rPr lang="pt-BR" b="1" dirty="0"/>
              <a:t>SVM 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(</a:t>
            </a:r>
            <a:r>
              <a:rPr lang="pt-BR" b="0" i="0" dirty="0" err="1">
                <a:solidFill>
                  <a:srgbClr val="212529"/>
                </a:solidFill>
                <a:effectLst/>
                <a:latin typeface="-apple-system"/>
              </a:rPr>
              <a:t>Support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 Vector </a:t>
            </a:r>
            <a:r>
              <a:rPr lang="pt-BR" b="0" i="0" dirty="0" err="1">
                <a:solidFill>
                  <a:srgbClr val="212529"/>
                </a:solidFill>
                <a:effectLst/>
                <a:latin typeface="-apple-system"/>
              </a:rPr>
              <a:t>Machine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) </a:t>
            </a:r>
            <a:r>
              <a:rPr lang="pt-BR" dirty="0"/>
              <a:t>com TF-IDF via </a:t>
            </a:r>
            <a:r>
              <a:rPr lang="pt-BR" dirty="0" err="1"/>
              <a:t>spaCy</a:t>
            </a:r>
            <a:endParaRPr lang="pt-BR" dirty="0"/>
          </a:p>
          <a:p>
            <a:endParaRPr lang="pt-BR" dirty="0"/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endParaRPr lang="pt-BR" b="1" dirty="0"/>
          </a:p>
          <a:p>
            <a:r>
              <a:rPr lang="pt-BR" b="1" dirty="0"/>
              <a:t>BERT/</a:t>
            </a:r>
            <a:r>
              <a:rPr lang="pt-BR" b="1" dirty="0" err="1"/>
              <a:t>roBERTa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B306E85D-ADDF-3E3C-7FFA-83EEA27BE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7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Portugu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9</a:t>
            </a:fld>
            <a:endParaRPr lang="en-US" dirty="0"/>
          </a:p>
        </p:txBody>
      </p:sp>
      <p:pic>
        <p:nvPicPr>
          <p:cNvPr id="8" name="Imagem 7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896B379-E226-32AA-F1DB-3DCF6E5F77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853"/>
            <a:ext cx="5427443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14:cNvPr>
              <p14:cNvContentPartPr/>
              <p14:nvPr/>
            </p14:nvContentPartPr>
            <p14:xfrm>
              <a:off x="5294657" y="4432423"/>
              <a:ext cx="2222640" cy="70560"/>
            </p14:xfrm>
          </p:contentPart>
        </mc:Choice>
        <mc:Fallback xmlns=""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40657" y="4324783"/>
                <a:ext cx="233028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14:cNvPr>
              <p14:cNvContentPartPr/>
              <p14:nvPr/>
            </p14:nvContentPartPr>
            <p14:xfrm>
              <a:off x="5311577" y="4536463"/>
              <a:ext cx="2204280" cy="79200"/>
            </p14:xfrm>
          </p:contentPart>
        </mc:Choice>
        <mc:Fallback xmlns=""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57577" y="4428823"/>
                <a:ext cx="231192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66531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Objetiv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Analisar os documentos de política monetária do Banco Central utilizando modelos de </a:t>
            </a:r>
            <a:r>
              <a:rPr lang="pt-BR" b="1" dirty="0">
                <a:highlight>
                  <a:srgbClr val="C0C0C0"/>
                </a:highlight>
              </a:rPr>
              <a:t>Natural Language Processing </a:t>
            </a:r>
            <a:r>
              <a:rPr lang="pt-BR" dirty="0"/>
              <a:t>(NLP), em </a:t>
            </a:r>
            <a:r>
              <a:rPr lang="pt-BR" b="1" dirty="0">
                <a:highlight>
                  <a:srgbClr val="C0C0C0"/>
                </a:highlight>
              </a:rPr>
              <a:t>Python</a:t>
            </a:r>
            <a:r>
              <a:rPr lang="pt-BR" b="1" dirty="0"/>
              <a:t>.</a:t>
            </a:r>
          </a:p>
          <a:p>
            <a:endParaRPr lang="pt-BR" b="1" dirty="0"/>
          </a:p>
          <a:p>
            <a:r>
              <a:rPr lang="pt-BR" b="1" dirty="0">
                <a:highlight>
                  <a:srgbClr val="C0C0C0"/>
                </a:highlight>
              </a:rPr>
              <a:t>Avaliar</a:t>
            </a:r>
            <a:r>
              <a:rPr lang="pt-BR" b="1" dirty="0"/>
              <a:t> </a:t>
            </a:r>
            <a:r>
              <a:rPr lang="pt-BR" dirty="0"/>
              <a:t>se os modelos de NLP são </a:t>
            </a:r>
            <a:r>
              <a:rPr lang="pt-BR" b="1" dirty="0"/>
              <a:t>eficientes</a:t>
            </a:r>
            <a:r>
              <a:rPr lang="pt-BR" dirty="0"/>
              <a:t> para entender a comunicação do BC e as mensagens transmitidas nos instrumentos oficiais, como os comunicados e as atas do Copom.</a:t>
            </a:r>
          </a:p>
          <a:p>
            <a:endParaRPr lang="pt-BR" dirty="0"/>
          </a:p>
          <a:p>
            <a:r>
              <a:rPr lang="pt-BR" dirty="0"/>
              <a:t>Tentar </a:t>
            </a:r>
            <a:r>
              <a:rPr lang="pt-BR" b="1" dirty="0">
                <a:highlight>
                  <a:srgbClr val="C0C0C0"/>
                </a:highlight>
              </a:rPr>
              <a:t>estimar</a:t>
            </a:r>
            <a:r>
              <a:rPr lang="pt-BR" dirty="0"/>
              <a:t> os movimentos seguintes da taxa de juros Selic a partir da análise da comunicação do Banco Central.</a:t>
            </a:r>
            <a:endParaRPr lang="en-US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7EE43A9-926E-7515-3899-B21EE8AC8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81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Ingl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0</a:t>
            </a:fld>
            <a:endParaRPr lang="en-US" dirty="0"/>
          </a:p>
        </p:txBody>
      </p:sp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53C8A7A2-0EC4-E884-F293-3F6E7B3D6F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07"/>
          <a:stretch/>
        </p:blipFill>
        <p:spPr>
          <a:xfrm>
            <a:off x="4654733" y="-1"/>
            <a:ext cx="5379898" cy="685800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14:cNvPr>
              <p14:cNvContentPartPr/>
              <p14:nvPr/>
            </p14:nvContentPartPr>
            <p14:xfrm>
              <a:off x="5225177" y="6540223"/>
              <a:ext cx="1729800" cy="60480"/>
            </p14:xfrm>
          </p:contentPart>
        </mc:Choice>
        <mc:Fallback xmlns="">
          <p:pic>
            <p:nvPicPr>
              <p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71177" y="6432223"/>
                <a:ext cx="1837440" cy="276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14:cNvPr>
              <p14:cNvContentPartPr/>
              <p14:nvPr/>
            </p14:nvContentPartPr>
            <p14:xfrm>
              <a:off x="5223737" y="6661543"/>
              <a:ext cx="2335320" cy="36360"/>
            </p14:xfrm>
          </p:contentPart>
        </mc:Choice>
        <mc:Fallback xmlns="">
          <p:pic>
            <p:nvPicPr>
              <p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69737" y="6553903"/>
                <a:ext cx="2442960" cy="25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876006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VM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076234-A749-4C48-84C3-8766CA0A2F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39" y="1281941"/>
            <a:ext cx="5896798" cy="5439534"/>
          </a:xfrm>
          <a:prstGeom prst="rect">
            <a:avLst/>
          </a:prstGeo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D84BE81B-6F88-336A-F3EA-D46DC36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1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14:cNvPr>
              <p14:cNvContentPartPr/>
              <p14:nvPr/>
            </p14:nvContentPartPr>
            <p14:xfrm>
              <a:off x="1276641" y="6342850"/>
              <a:ext cx="1611000" cy="27000"/>
            </p14:xfrm>
          </p:contentPart>
        </mc:Choice>
        <mc:Fallback>
          <p:pic>
            <p:nvPicPr>
              <p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22629" y="6234850"/>
                <a:ext cx="1718664" cy="24264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Imagem 10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CDC72A85-049C-A3A7-B2DB-74BE5D97EC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722" y="1281941"/>
            <a:ext cx="5658640" cy="543953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14:cNvPr>
              <p14:cNvContentPartPr/>
              <p14:nvPr/>
            </p14:nvContentPartPr>
            <p14:xfrm>
              <a:off x="6628014" y="6342850"/>
              <a:ext cx="2674800" cy="54000"/>
            </p14:xfrm>
          </p:contentPart>
        </mc:Choice>
        <mc:Fallback>
          <p:pic>
            <p:nvPicPr>
              <p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74014" y="6234850"/>
                <a:ext cx="2782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0993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portuguê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2</a:t>
            </a:fld>
            <a:endParaRPr lang="en-US" dirty="0"/>
          </a:p>
        </p:txBody>
      </p:sp>
      <p:pic>
        <p:nvPicPr>
          <p:cNvPr id="8" name="Imagem 7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E5B3E95-E8BA-5ECB-9446-579C58EEB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12013"/>
            <a:ext cx="8451608" cy="56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564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3</a:t>
            </a:fld>
            <a:endParaRPr lang="en-US" dirty="0"/>
          </a:p>
        </p:txBody>
      </p:sp>
      <p:pic>
        <p:nvPicPr>
          <p:cNvPr id="5" name="Imagem 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60950B9E-8901-3BDC-6BD9-BCC087D11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99577"/>
            <a:ext cx="8451608" cy="555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944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937" y="637762"/>
            <a:ext cx="2598697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97A3EAF3-A434-9162-FEB5-5E03A1BF3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4</a:t>
            </a:fld>
            <a:endParaRPr lang="en-US" dirty="0"/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5DB2C1B3-8419-B82B-A633-3990BE7CA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76" y="2187574"/>
            <a:ext cx="6447731" cy="4351338"/>
          </a:xfrm>
          <a:prstGeom prst="rect">
            <a:avLst/>
          </a:prstGeom>
        </p:spPr>
      </p:pic>
      <p:pic>
        <p:nvPicPr>
          <p:cNvPr id="5" name="Espaço Reservado para Conteúdo 4" descr="Texto&#10;&#10;Descrição gerada automaticamente">
            <a:extLst>
              <a:ext uri="{FF2B5EF4-FFF2-40B4-BE49-F238E27FC236}">
                <a16:creationId xmlns:a16="http://schemas.microsoft.com/office/drawing/2014/main" id="{850094BC-BD3F-876D-A43E-486B4FD2F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350" y="981073"/>
            <a:ext cx="6984156" cy="5740402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14:cNvPr>
              <p14:cNvContentPartPr/>
              <p14:nvPr/>
            </p14:nvContentPartPr>
            <p14:xfrm>
              <a:off x="644537" y="5935783"/>
              <a:ext cx="2355480" cy="83520"/>
            </p14:xfrm>
          </p:contentPart>
        </mc:Choice>
        <mc:Fallback xmlns="">
          <p:pic>
            <p:nvPicPr>
              <p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0537" y="5827783"/>
                <a:ext cx="2463120" cy="29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14:cNvPr>
              <p14:cNvContentPartPr/>
              <p14:nvPr/>
            </p14:nvContentPartPr>
            <p14:xfrm>
              <a:off x="5756177" y="5948023"/>
              <a:ext cx="1865160" cy="9360"/>
            </p14:xfrm>
          </p:contentPart>
        </mc:Choice>
        <mc:Fallback xmlns=""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2177" y="5840023"/>
                <a:ext cx="1972800" cy="225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CaixaDeTexto 11">
            <a:extLst>
              <a:ext uri="{FF2B5EF4-FFF2-40B4-BE49-F238E27FC236}">
                <a16:creationId xmlns:a16="http://schemas.microsoft.com/office/drawing/2014/main" id="{B2253857-A87F-829E-AE2F-1FF2B98596DC}"/>
              </a:ext>
            </a:extLst>
          </p:cNvPr>
          <p:cNvSpPr txBox="1"/>
          <p:nvPr/>
        </p:nvSpPr>
        <p:spPr>
          <a:xfrm>
            <a:off x="356188" y="1757282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FB435FA-1252-DB6B-819E-6B02596B8D3E}"/>
              </a:ext>
            </a:extLst>
          </p:cNvPr>
          <p:cNvSpPr txBox="1"/>
          <p:nvPr/>
        </p:nvSpPr>
        <p:spPr>
          <a:xfrm>
            <a:off x="5204831" y="539789"/>
            <a:ext cx="1483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b="1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8909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5</a:t>
            </a:fld>
            <a:endParaRPr lang="en-US" dirty="0"/>
          </a:p>
        </p:txBody>
      </p:sp>
      <p:pic>
        <p:nvPicPr>
          <p:cNvPr id="8" name="Imagem 7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6B5C25C-D8FE-A2A5-328D-C4C1BAB4F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93" y="2154474"/>
            <a:ext cx="5916207" cy="3023839"/>
          </a:xfrm>
          <a:prstGeom prst="rect">
            <a:avLst/>
          </a:prstGeom>
        </p:spPr>
      </p:pic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DB46DB4A-7089-6C76-A396-03645DF47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865" y="0"/>
            <a:ext cx="5153936" cy="608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47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6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5374F2D-DC32-581C-CCA5-7104F680A1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92" y="1739116"/>
            <a:ext cx="5549598" cy="5118884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14:cNvPr>
              <p14:cNvContentPartPr/>
              <p14:nvPr/>
            </p14:nvContentPartPr>
            <p14:xfrm>
              <a:off x="7163088" y="2202069"/>
              <a:ext cx="1611000" cy="44640"/>
            </p14:xfrm>
          </p:contentPart>
        </mc:Choice>
        <mc:Fallback xmlns="">
          <p:pic>
            <p:nvPicPr>
              <p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09088" y="2094429"/>
                <a:ext cx="1718640" cy="26028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m 13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0AE90A78-A038-4734-8EF5-AE61E38123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221" y="1860660"/>
            <a:ext cx="5225182" cy="499734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14:cNvPr>
              <p14:cNvContentPartPr/>
              <p14:nvPr/>
            </p14:nvContentPartPr>
            <p14:xfrm>
              <a:off x="1897729" y="2403207"/>
              <a:ext cx="1646280" cy="26280"/>
            </p14:xfrm>
          </p:contentPart>
        </mc:Choice>
        <mc:Fallback xmlns="">
          <p:pic>
            <p:nvPicPr>
              <p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844089" y="2295207"/>
                <a:ext cx="1753920" cy="24192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CaixaDeTexto 14">
            <a:extLst>
              <a:ext uri="{FF2B5EF4-FFF2-40B4-BE49-F238E27FC236}">
                <a16:creationId xmlns:a16="http://schemas.microsoft.com/office/drawing/2014/main" id="{E45C7E45-B4F1-84D4-A250-479B90FBC839}"/>
              </a:ext>
            </a:extLst>
          </p:cNvPr>
          <p:cNvSpPr txBox="1"/>
          <p:nvPr/>
        </p:nvSpPr>
        <p:spPr>
          <a:xfrm>
            <a:off x="1525020" y="1491327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B2B70E7-410B-8AF0-59EA-F303BF3B0396}"/>
              </a:ext>
            </a:extLst>
          </p:cNvPr>
          <p:cNvSpPr txBox="1"/>
          <p:nvPr/>
        </p:nvSpPr>
        <p:spPr>
          <a:xfrm>
            <a:off x="6655998" y="1309082"/>
            <a:ext cx="18434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8C64999-3F0C-16F0-42C8-E68ADCBBD05C}"/>
              </a:ext>
            </a:extLst>
          </p:cNvPr>
          <p:cNvSpPr txBox="1"/>
          <p:nvPr/>
        </p:nvSpPr>
        <p:spPr>
          <a:xfrm>
            <a:off x="4398266" y="6358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Classificação</a:t>
            </a:r>
            <a:r>
              <a:rPr lang="en-US" dirty="0"/>
              <a:t> do tom: dovish, </a:t>
            </a:r>
            <a:r>
              <a:rPr lang="en-US" dirty="0" err="1"/>
              <a:t>neutro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hawkish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49267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7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0853DF6-6078-BB17-66A5-EAF9B9D49062}"/>
              </a:ext>
            </a:extLst>
          </p:cNvPr>
          <p:cNvSpPr txBox="1"/>
          <p:nvPr/>
        </p:nvSpPr>
        <p:spPr>
          <a:xfrm>
            <a:off x="1215399" y="1397789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F53C9849-43CA-9C0F-7D34-AD550FA86784}"/>
              </a:ext>
            </a:extLst>
          </p:cNvPr>
          <p:cNvSpPr txBox="1"/>
          <p:nvPr/>
        </p:nvSpPr>
        <p:spPr>
          <a:xfrm>
            <a:off x="7024794" y="1244536"/>
            <a:ext cx="2672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pic>
        <p:nvPicPr>
          <p:cNvPr id="28" name="Imagem 27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69BB645-EFB4-683A-9434-3F55BBD29D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366" y="1780529"/>
            <a:ext cx="5022525" cy="5064103"/>
          </a:xfrm>
          <a:prstGeom prst="rect">
            <a:avLst/>
          </a:prstGeom>
        </p:spPr>
      </p:pic>
      <p:pic>
        <p:nvPicPr>
          <p:cNvPr id="30" name="Imagem 29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F1BDFBD7-E219-8173-B7D4-A4678E062F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584" y="1682296"/>
            <a:ext cx="5167205" cy="517570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14:cNvPr>
              <p14:cNvContentPartPr/>
              <p14:nvPr/>
            </p14:nvContentPartPr>
            <p14:xfrm>
              <a:off x="1681687" y="2225924"/>
              <a:ext cx="1593360" cy="27000"/>
            </p14:xfrm>
          </p:contentPart>
        </mc:Choice>
        <mc:Fallback>
          <p:pic>
            <p:nvPicPr>
              <p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627687" y="2117924"/>
                <a:ext cx="170100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14:cNvPr>
              <p14:cNvContentPartPr/>
              <p14:nvPr/>
            </p14:nvContentPartPr>
            <p14:xfrm>
              <a:off x="7485560" y="2110106"/>
              <a:ext cx="1829520" cy="37440"/>
            </p14:xfrm>
          </p:contentPart>
        </mc:Choice>
        <mc:Fallback>
          <p:pic>
            <p:nvPicPr>
              <p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31549" y="2001057"/>
                <a:ext cx="1937181" cy="255174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CaixaDeTexto 33">
            <a:extLst>
              <a:ext uri="{FF2B5EF4-FFF2-40B4-BE49-F238E27FC236}">
                <a16:creationId xmlns:a16="http://schemas.microsoft.com/office/drawing/2014/main" id="{5AFDD638-B72D-D779-7B49-97AE2AB2A40D}"/>
              </a:ext>
            </a:extLst>
          </p:cNvPr>
          <p:cNvSpPr txBox="1"/>
          <p:nvPr/>
        </p:nvSpPr>
        <p:spPr>
          <a:xfrm>
            <a:off x="4398266" y="6358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stimativa</a:t>
            </a:r>
            <a:r>
              <a:rPr lang="en-US" dirty="0"/>
              <a:t> da </a:t>
            </a:r>
            <a:r>
              <a:rPr lang="en-US" dirty="0" err="1"/>
              <a:t>próxima</a:t>
            </a:r>
            <a:r>
              <a:rPr lang="en-US" dirty="0"/>
              <a:t> </a:t>
            </a:r>
            <a:r>
              <a:rPr lang="en-US" sz="1800" dirty="0" err="1"/>
              <a:t>reuni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7512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Result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</a:t>
            </a:r>
            <a:r>
              <a:rPr lang="en-US" dirty="0" err="1"/>
              <a:t>pré-treinados</a:t>
            </a:r>
            <a:r>
              <a:rPr lang="en-US" dirty="0"/>
              <a:t> </a:t>
            </a:r>
            <a:r>
              <a:rPr lang="en-US" dirty="0" err="1"/>
              <a:t>apresentaram</a:t>
            </a:r>
            <a:r>
              <a:rPr lang="en-US" dirty="0"/>
              <a:t> </a:t>
            </a:r>
            <a:r>
              <a:rPr lang="en-US" dirty="0" err="1"/>
              <a:t>resultados</a:t>
            </a:r>
            <a:r>
              <a:rPr lang="en-US" dirty="0"/>
              <a:t> </a:t>
            </a:r>
            <a:r>
              <a:rPr lang="en-US" dirty="0" err="1"/>
              <a:t>consistentes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inglês</a:t>
            </a:r>
            <a:r>
              <a:rPr lang="en-US" dirty="0"/>
              <a:t> e </a:t>
            </a:r>
            <a:r>
              <a:rPr lang="en-US" dirty="0" err="1"/>
              <a:t>português</a:t>
            </a:r>
            <a:r>
              <a:rPr lang="en-US" dirty="0"/>
              <a:t> para as duas “labels” </a:t>
            </a:r>
            <a:r>
              <a:rPr lang="en-US" dirty="0" err="1"/>
              <a:t>definidas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BERT/</a:t>
            </a:r>
            <a:r>
              <a:rPr lang="en-US" dirty="0" err="1"/>
              <a:t>roBERTa</a:t>
            </a:r>
            <a:endParaRPr lang="en-US" dirty="0"/>
          </a:p>
          <a:p>
            <a:r>
              <a:rPr lang="en-US" dirty="0"/>
              <a:t>O </a:t>
            </a:r>
            <a:r>
              <a:rPr lang="en-US" dirty="0" err="1"/>
              <a:t>ponto</a:t>
            </a:r>
            <a:r>
              <a:rPr lang="en-US" dirty="0"/>
              <a:t> </a:t>
            </a:r>
            <a:r>
              <a:rPr lang="en-US" dirty="0" err="1"/>
              <a:t>negativo</a:t>
            </a:r>
            <a:r>
              <a:rPr lang="en-US" dirty="0"/>
              <a:t> é que </a:t>
            </a:r>
            <a:r>
              <a:rPr lang="en-US" dirty="0" err="1"/>
              <a:t>esse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do </a:t>
            </a:r>
            <a:r>
              <a:rPr lang="en-US" dirty="0" err="1"/>
              <a:t>tipo</a:t>
            </a:r>
            <a:r>
              <a:rPr lang="en-US" dirty="0"/>
              <a:t> BERT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limitação</a:t>
            </a:r>
            <a:r>
              <a:rPr lang="en-US" dirty="0"/>
              <a:t> de </a:t>
            </a:r>
            <a:r>
              <a:rPr lang="en-US" dirty="0" err="1"/>
              <a:t>tamanho</a:t>
            </a:r>
            <a:r>
              <a:rPr lang="en-US" dirty="0"/>
              <a:t> dos </a:t>
            </a:r>
            <a:r>
              <a:rPr lang="en-US" dirty="0" err="1"/>
              <a:t>textos</a:t>
            </a:r>
            <a:r>
              <a:rPr lang="en-US" dirty="0"/>
              <a:t> para 512 tokens</a:t>
            </a:r>
          </a:p>
          <a:p>
            <a:r>
              <a:rPr lang="en-US" dirty="0"/>
              <a:t>Testes </a:t>
            </a:r>
            <a:r>
              <a:rPr lang="en-US" dirty="0" err="1"/>
              <a:t>usando</a:t>
            </a:r>
            <a:r>
              <a:rPr lang="en-US" dirty="0"/>
              <a:t> as </a:t>
            </a:r>
            <a:r>
              <a:rPr lang="en-US" dirty="0" err="1"/>
              <a:t>atas</a:t>
            </a:r>
            <a:r>
              <a:rPr lang="en-US" dirty="0"/>
              <a:t> do </a:t>
            </a:r>
            <a:r>
              <a:rPr lang="en-US" dirty="0" err="1"/>
              <a:t>Copom</a:t>
            </a:r>
            <a:r>
              <a:rPr lang="en-US" dirty="0"/>
              <a:t> “</a:t>
            </a:r>
            <a:r>
              <a:rPr lang="en-US" dirty="0" err="1"/>
              <a:t>truncadas</a:t>
            </a:r>
            <a:r>
              <a:rPr lang="en-US" dirty="0"/>
              <a:t>” </a:t>
            </a:r>
            <a:r>
              <a:rPr lang="en-US" dirty="0" err="1"/>
              <a:t>redurizam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resultados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77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9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usando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todas</a:t>
            </a:r>
            <a:r>
              <a:rPr lang="en-US" sz="3600" dirty="0">
                <a:solidFill>
                  <a:schemeClr val="bg1"/>
                </a:solidFill>
              </a:rPr>
              <a:t> as </a:t>
            </a:r>
            <a:r>
              <a:rPr lang="en-US" sz="3600" dirty="0" err="1">
                <a:solidFill>
                  <a:schemeClr val="bg1"/>
                </a:solidFill>
              </a:rPr>
              <a:t>atas</a:t>
            </a:r>
            <a:r>
              <a:rPr lang="en-US" sz="3600" dirty="0">
                <a:solidFill>
                  <a:schemeClr val="bg1"/>
                </a:solidFill>
              </a:rPr>
              <a:t> e </a:t>
            </a:r>
            <a:r>
              <a:rPr lang="en-US" sz="3600" dirty="0" err="1">
                <a:solidFill>
                  <a:schemeClr val="bg1"/>
                </a:solidFill>
              </a:rPr>
              <a:t>comunic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Imagem 5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BFC3C71D-4FA5-A34C-0910-580EEBB0E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5" y="637762"/>
            <a:ext cx="6325483" cy="616353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14:cNvPr>
              <p14:cNvContentPartPr/>
              <p14:nvPr/>
            </p14:nvContentPartPr>
            <p14:xfrm>
              <a:off x="5277017" y="1323463"/>
              <a:ext cx="1982520" cy="56880"/>
            </p14:xfrm>
          </p:contentPart>
        </mc:Choice>
        <mc:Fallback xmlns=""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23377" y="1215463"/>
                <a:ext cx="2090160" cy="272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58562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10000"/>
          </a:bodyPr>
          <a:lstStyle/>
          <a:p>
            <a:r>
              <a:rPr lang="pt-BR" dirty="0"/>
              <a:t>A </a:t>
            </a:r>
            <a:r>
              <a:rPr lang="pt-BR" b="1" dirty="0">
                <a:highlight>
                  <a:srgbClr val="C0C0C0"/>
                </a:highlight>
              </a:rPr>
              <a:t>Bloomberg</a:t>
            </a:r>
            <a:r>
              <a:rPr lang="pt-BR" dirty="0"/>
              <a:t> é uma empresa global de informações financeiras e notícias.</a:t>
            </a:r>
          </a:p>
          <a:p>
            <a:endParaRPr lang="pt-BR" dirty="0"/>
          </a:p>
          <a:p>
            <a:r>
              <a:rPr lang="pt-BR" dirty="0"/>
              <a:t>A análise de dados já é bastante difundida no </a:t>
            </a:r>
            <a:r>
              <a:rPr lang="pt-BR" b="1" dirty="0">
                <a:highlight>
                  <a:srgbClr val="C0C0C0"/>
                </a:highlight>
              </a:rPr>
              <a:t>jornalismo</a:t>
            </a:r>
            <a:r>
              <a:rPr lang="pt-BR" dirty="0"/>
              <a:t> brasileiro, seja por meio do acesso a informações públicas, seja via </a:t>
            </a:r>
            <a:r>
              <a:rPr lang="pt-BR" b="1" dirty="0"/>
              <a:t>web scraping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O uso de </a:t>
            </a:r>
            <a:r>
              <a:rPr lang="pt-BR" b="1" dirty="0">
                <a:highlight>
                  <a:srgbClr val="C0C0C0"/>
                </a:highlight>
              </a:rPr>
              <a:t>modelos</a:t>
            </a:r>
            <a:r>
              <a:rPr lang="pt-BR" dirty="0"/>
              <a:t> de aprendizado de máquina, no entanto, ainda não é muito difundido.</a:t>
            </a:r>
          </a:p>
          <a:p>
            <a:endParaRPr lang="pt-BR" dirty="0"/>
          </a:p>
          <a:p>
            <a:r>
              <a:rPr lang="pt-BR" dirty="0"/>
              <a:t>No Brasil existe ainda o desafio de adaptação dos modelos de NLP para a </a:t>
            </a:r>
            <a:r>
              <a:rPr lang="pt-BR" b="1" dirty="0">
                <a:highlight>
                  <a:srgbClr val="C0C0C0"/>
                </a:highlight>
              </a:rPr>
              <a:t>língua portuguesa</a:t>
            </a:r>
            <a:r>
              <a:rPr lang="pt-BR" dirty="0"/>
              <a:t>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79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Desenvolvimentos futur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pt-BR" dirty="0"/>
              <a:t>O trabalho serve de ponto de partida para avaliação da comunicação do Banco Central de forma mais ampla, incluindo outros documentos e/ou discursos e apresentações</a:t>
            </a:r>
          </a:p>
          <a:p>
            <a:r>
              <a:rPr lang="pt-BR" dirty="0"/>
              <a:t>O mesmo tipo de análise pode ser estendida para outros bancos centrais pelo mundo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3609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320" y="637762"/>
            <a:ext cx="231131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Bibliografi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1</a:t>
            </a:fld>
            <a:endParaRPr lang="en-US" dirty="0"/>
          </a:p>
        </p:txBody>
      </p:sp>
      <p:pic>
        <p:nvPicPr>
          <p:cNvPr id="8" name="Imagem 7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45F4000-C956-C52F-F6A1-E3E8CA289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976" y="1463723"/>
            <a:ext cx="3391373" cy="1962424"/>
          </a:xfrm>
          <a:prstGeom prst="rect">
            <a:avLst/>
          </a:prstGeom>
        </p:spPr>
      </p:pic>
      <p:pic>
        <p:nvPicPr>
          <p:cNvPr id="10" name="Imagem 9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0A59C5CF-C34B-D90A-867F-A77C4BC6A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02" y="3770530"/>
            <a:ext cx="3381847" cy="2086266"/>
          </a:xfrm>
          <a:prstGeom prst="rect">
            <a:avLst/>
          </a:prstGeom>
        </p:spPr>
      </p:pic>
      <p:pic>
        <p:nvPicPr>
          <p:cNvPr id="12" name="Imagem 11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326DCF5B-0200-9B9E-6D3F-DDF5D3A068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38" y="1688202"/>
            <a:ext cx="3467584" cy="150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91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4</a:t>
            </a:fld>
            <a:endParaRPr lang="en-US"/>
          </a:p>
        </p:txBody>
      </p:sp>
      <p:pic>
        <p:nvPicPr>
          <p:cNvPr id="8" name="Imagem 7" descr="Texto&#10;&#10;Descrição gerada automaticamente">
            <a:extLst>
              <a:ext uri="{FF2B5EF4-FFF2-40B4-BE49-F238E27FC236}">
                <a16:creationId xmlns:a16="http://schemas.microsoft.com/office/drawing/2014/main" id="{3ADDFA2E-AFCB-9AD6-A1A8-C67BD39D96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884" y="637762"/>
            <a:ext cx="8200604" cy="5042315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74EFF3E-08BA-F885-071C-CA0FF2AC00B5}"/>
              </a:ext>
            </a:extLst>
          </p:cNvPr>
          <p:cNvSpPr txBox="1"/>
          <p:nvPr/>
        </p:nvSpPr>
        <p:spPr>
          <a:xfrm>
            <a:off x="3869805" y="5987018"/>
            <a:ext cx="6436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bloomberg.com/graphics/2016-amazon-same-day/</a:t>
            </a:r>
          </a:p>
        </p:txBody>
      </p:sp>
    </p:spTree>
    <p:extLst>
      <p:ext uri="{BB962C8B-B14F-4D97-AF65-F5344CB8AC3E}">
        <p14:creationId xmlns:p14="http://schemas.microsoft.com/office/powerpoint/2010/main" val="4892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5</a:t>
            </a:fld>
            <a:endParaRPr lang="en-US"/>
          </a:p>
        </p:txBody>
      </p:sp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9481621C-40E4-CE1F-05DF-2FD219935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0"/>
            <a:ext cx="6810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08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46" y="632099"/>
            <a:ext cx="2999291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4881882"/>
          </a:xfrm>
        </p:spPr>
        <p:txBody>
          <a:bodyPr>
            <a:normAutofit fontScale="77500" lnSpcReduction="20000"/>
          </a:bodyPr>
          <a:lstStyle/>
          <a:p>
            <a:r>
              <a:rPr lang="pt-BR" dirty="0"/>
              <a:t>BC faz </a:t>
            </a:r>
            <a:r>
              <a:rPr lang="pt-BR" b="1" dirty="0"/>
              <a:t>oito reuniões do Copom </a:t>
            </a:r>
            <a:r>
              <a:rPr lang="pt-BR" dirty="0"/>
              <a:t>por ano para decidir a Selic daquele período dentro do regime de metas</a:t>
            </a:r>
          </a:p>
          <a:p>
            <a:endParaRPr lang="pt-BR" dirty="0"/>
          </a:p>
          <a:p>
            <a:r>
              <a:rPr lang="pt-BR" dirty="0"/>
              <a:t>A</a:t>
            </a:r>
            <a:r>
              <a:rPr lang="pt-BR" b="1" dirty="0"/>
              <a:t> comunicação é peça fundamental </a:t>
            </a:r>
            <a:r>
              <a:rPr lang="pt-BR" dirty="0"/>
              <a:t>dentro do sistema de metas para controlar as expectativas dos agentes econômicos com relação a alta dos preços à frente.</a:t>
            </a:r>
          </a:p>
          <a:p>
            <a:endParaRPr lang="pt-BR" dirty="0"/>
          </a:p>
          <a:p>
            <a:r>
              <a:rPr lang="pt-BR" dirty="0"/>
              <a:t>São dois os principais documentos: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Comunicado</a:t>
            </a:r>
            <a:r>
              <a:rPr lang="pt-BR" dirty="0"/>
              <a:t>: texto enxuto publicado logo após a decisão sobre a taxa Selic; entre </a:t>
            </a:r>
            <a:r>
              <a:rPr lang="pt-BR" b="1" dirty="0"/>
              <a:t>500 e 600 palavras</a:t>
            </a:r>
            <a:r>
              <a:rPr lang="pt-BR" dirty="0"/>
              <a:t>.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Ata do Copom</a:t>
            </a:r>
            <a:r>
              <a:rPr lang="pt-BR" dirty="0"/>
              <a:t>: mais extensa, descreve a situação econômica, os cenários para a inflação e eventual posições divergentes sobre a decisão tomada uma semana antes; mais de </a:t>
            </a:r>
            <a:r>
              <a:rPr lang="pt-BR" b="1" dirty="0"/>
              <a:t>3.000 palavras</a:t>
            </a:r>
            <a:r>
              <a:rPr lang="pt-BR" dirty="0"/>
              <a:t>.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06BE02-BB34-EB23-C808-56C982AF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6</a:t>
            </a:fld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6AAD92-3FD4-93CF-9B3A-B961BA492B99}"/>
              </a:ext>
            </a:extLst>
          </p:cNvPr>
          <p:cNvSpPr txBox="1"/>
          <p:nvPr/>
        </p:nvSpPr>
        <p:spPr>
          <a:xfrm>
            <a:off x="348343" y="6171138"/>
            <a:ext cx="4909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https://www.bcb.gov.br/controleinflacao/copom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FFE08E-B623-003B-BA9D-644F183F903A}"/>
              </a:ext>
            </a:extLst>
          </p:cNvPr>
          <p:cNvSpPr txBox="1"/>
          <p:nvPr/>
        </p:nvSpPr>
        <p:spPr>
          <a:xfrm>
            <a:off x="568013" y="3103774"/>
            <a:ext cx="25538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0" i="0" dirty="0">
                <a:solidFill>
                  <a:schemeClr val="bg1"/>
                </a:solidFill>
                <a:effectLst/>
                <a:latin typeface="Ubuntu" panose="020F0502020204030204" pitchFamily="34" charset="0"/>
              </a:rPr>
              <a:t>“Para que a política monetária atinja seus objetivos de maneira eficiente, o Banco Central precisa se comunicar de forma clara e transparente.”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99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0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" y="637762"/>
            <a:ext cx="2717714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6" y="2675655"/>
            <a:ext cx="6978704" cy="3269268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O </a:t>
            </a:r>
            <a:r>
              <a:rPr lang="pt-BR" b="1" dirty="0"/>
              <a:t>mercado financeiro </a:t>
            </a:r>
            <a:r>
              <a:rPr lang="pt-BR" dirty="0"/>
              <a:t>avalia esses dois comunicados com bastante cuidado em busca de </a:t>
            </a:r>
            <a:r>
              <a:rPr lang="pt-BR" b="1" dirty="0"/>
              <a:t>pistas</a:t>
            </a:r>
            <a:r>
              <a:rPr lang="pt-BR" dirty="0"/>
              <a:t> sobre os próximos passos do BC.</a:t>
            </a:r>
          </a:p>
          <a:p>
            <a:endParaRPr lang="pt-BR" dirty="0"/>
          </a:p>
          <a:p>
            <a:r>
              <a:rPr lang="pt-BR" dirty="0"/>
              <a:t>Se os documentos fornecerem indicações de que a </a:t>
            </a:r>
            <a:r>
              <a:rPr lang="pt-BR" b="1" dirty="0"/>
              <a:t>Selic vai subir ou cair no próximo encontro </a:t>
            </a:r>
            <a:r>
              <a:rPr lang="pt-BR" dirty="0"/>
              <a:t>do Copom, os investidores fazem uso dessa informação para </a:t>
            </a:r>
            <a:r>
              <a:rPr lang="pt-BR" b="1" dirty="0"/>
              <a:t>operar nos diversos ativos </a:t>
            </a:r>
            <a:r>
              <a:rPr lang="pt-BR" dirty="0"/>
              <a:t>brasileiros como o dólar, derivativos de juros e as ações na bolsa de valores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7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9999561A-E514-F9AE-BB93-9B33C399F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45" y="0"/>
            <a:ext cx="8413482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62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7" y="4313224"/>
            <a:ext cx="6978703" cy="2043126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Nessa última reunião, por exemplo, o Banco Central disse na ata do Copom que pode "iniciar um processo parcimonioso de inflexão na próxima reunião“</a:t>
            </a:r>
          </a:p>
          <a:p>
            <a:r>
              <a:rPr lang="pt-BR" dirty="0"/>
              <a:t>Quase todas as palavras dessa frase são relevantes: iniciar, processo, parcimonioso, inflexão e próxima reunião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Imagem 8" descr="Texto&#10;&#10;Descrição gerada automaticamente com confiança média">
            <a:extLst>
              <a:ext uri="{FF2B5EF4-FFF2-40B4-BE49-F238E27FC236}">
                <a16:creationId xmlns:a16="http://schemas.microsoft.com/office/drawing/2014/main" id="{3609B88F-E40C-DEFB-E550-238634AACB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3" y="0"/>
            <a:ext cx="8451617" cy="389672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14:cNvPr>
              <p14:cNvContentPartPr/>
              <p14:nvPr/>
            </p14:nvContentPartPr>
            <p14:xfrm>
              <a:off x="4406177" y="3073783"/>
              <a:ext cx="4775040" cy="91440"/>
            </p14:xfrm>
          </p:contentPart>
        </mc:Choice>
        <mc:Fallback xmlns=""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52537" y="2966143"/>
                <a:ext cx="4882680" cy="30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4070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9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7660F056-FF2D-6B2B-B9A4-8166F2B729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98"/>
          <a:stretch/>
        </p:blipFill>
        <p:spPr>
          <a:xfrm>
            <a:off x="3740383" y="0"/>
            <a:ext cx="8451607" cy="2002971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2611C2D-3949-5C38-E861-C41A31553FC5}"/>
              </a:ext>
            </a:extLst>
          </p:cNvPr>
          <p:cNvSpPr txBox="1"/>
          <p:nvPr/>
        </p:nvSpPr>
        <p:spPr>
          <a:xfrm>
            <a:off x="3877491" y="6229392"/>
            <a:ext cx="786166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https://www.economiaemdia.com.br/BradescoEconomiaEmDia/static_files/pdf/pt/publicacoes/destaque_depec/2023_05_17_Destaque.pdf</a:t>
            </a:r>
          </a:p>
        </p:txBody>
      </p:sp>
      <p:pic>
        <p:nvPicPr>
          <p:cNvPr id="14" name="Imagem 13" descr="Gráfico, Gráfico de linhas&#10;&#10;Descrição gerada automaticamente">
            <a:extLst>
              <a:ext uri="{FF2B5EF4-FFF2-40B4-BE49-F238E27FC236}">
                <a16:creationId xmlns:a16="http://schemas.microsoft.com/office/drawing/2014/main" id="{5EAA6A7B-1BAA-010C-ABD9-0121C06D8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33" y="2076987"/>
            <a:ext cx="5591955" cy="3019846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B3DDF8A-6FAA-1165-28E4-9BBF6E34F395}"/>
              </a:ext>
            </a:extLst>
          </p:cNvPr>
          <p:cNvSpPr txBox="1"/>
          <p:nvPr/>
        </p:nvSpPr>
        <p:spPr>
          <a:xfrm>
            <a:off x="68186" y="3217029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47213E1-9A7A-E4A0-757F-43011E18B118}"/>
              </a:ext>
            </a:extLst>
          </p:cNvPr>
          <p:cNvSpPr txBox="1"/>
          <p:nvPr/>
        </p:nvSpPr>
        <p:spPr>
          <a:xfrm>
            <a:off x="4616652" y="5166576"/>
            <a:ext cx="66990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Esse tipo de indicador é um aliado importante na avaliação dos textos, seja pela </a:t>
            </a:r>
            <a:r>
              <a:rPr lang="pt-BR" b="1" dirty="0"/>
              <a:t>rapidez</a:t>
            </a:r>
            <a:r>
              <a:rPr lang="pt-BR" dirty="0"/>
              <a:t> com que a interpretação pode ser feita, seja pela </a:t>
            </a:r>
            <a:r>
              <a:rPr lang="pt-BR" b="1" dirty="0"/>
              <a:t>diminuição do viés</a:t>
            </a:r>
            <a:r>
              <a:rPr lang="pt-BR" dirty="0"/>
              <a:t> da leitura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14:cNvPr>
              <p14:cNvContentPartPr/>
              <p14:nvPr/>
            </p14:nvContentPartPr>
            <p14:xfrm>
              <a:off x="1332497" y="3978823"/>
              <a:ext cx="757080" cy="10080"/>
            </p14:xfrm>
          </p:contentPart>
        </mc:Choice>
        <mc:Fallback xmlns="">
          <p:pic>
            <p:nvPicPr>
              <p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78497" y="3871183"/>
                <a:ext cx="864720" cy="22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14:cNvPr>
              <p14:cNvContentPartPr/>
              <p14:nvPr/>
            </p14:nvContentPartPr>
            <p14:xfrm>
              <a:off x="1384337" y="5607823"/>
              <a:ext cx="531720" cy="9360"/>
            </p14:xfrm>
          </p:contentPart>
        </mc:Choice>
        <mc:Fallback xmlns="">
          <p:pic>
            <p:nvPicPr>
              <p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0337" y="5500183"/>
                <a:ext cx="639360" cy="22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14:cNvPr>
              <p14:cNvContentPartPr/>
              <p14:nvPr/>
            </p14:nvContentPartPr>
            <p14:xfrm>
              <a:off x="1340777" y="5607823"/>
              <a:ext cx="137520" cy="9360"/>
            </p14:xfrm>
          </p:contentPart>
        </mc:Choice>
        <mc:Fallback xmlns="">
          <p:pic>
            <p:nvPicPr>
              <p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7137" y="5500183"/>
                <a:ext cx="2451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00767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36342[[fn=Íon]]</Template>
  <TotalTime>871</TotalTime>
  <Words>1186</Words>
  <Application>Microsoft Office PowerPoint</Application>
  <PresentationFormat>Widescreen</PresentationFormat>
  <Paragraphs>161</Paragraphs>
  <Slides>31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Ubuntu</vt:lpstr>
      <vt:lpstr>Tema do Office</vt:lpstr>
      <vt:lpstr>Slide do think-cell</vt:lpstr>
      <vt:lpstr>Análise de sentimento dos documentos do Banco Central utilizando Natural Language Processing em Python  Fernando Travaglini - Bloomberg</vt:lpstr>
      <vt:lpstr>Objetivos</vt:lpstr>
      <vt:lpstr>Importância para a Bloomberg</vt:lpstr>
      <vt:lpstr>Importância para a Bloomberg</vt:lpstr>
      <vt:lpstr>Importância para a Bloomberg</vt:lpstr>
      <vt:lpstr>Comunicação do Banco Central</vt:lpstr>
      <vt:lpstr>Comunicação do Banco Central</vt:lpstr>
      <vt:lpstr>Comunicação do Banco Central</vt:lpstr>
      <vt:lpstr>Comunicação do Banco Central</vt:lpstr>
      <vt:lpstr>NLP</vt:lpstr>
      <vt:lpstr>NLP</vt:lpstr>
      <vt:lpstr>Transformers</vt:lpstr>
      <vt:lpstr>Base de dados</vt:lpstr>
      <vt:lpstr>Base de dados</vt:lpstr>
      <vt:lpstr>Labels</vt:lpstr>
      <vt:lpstr>Web-scrape</vt:lpstr>
      <vt:lpstr>Processamento dos dados</vt:lpstr>
      <vt:lpstr>Modelos de classificação</vt:lpstr>
      <vt:lpstr>Word Embedding: Português</vt:lpstr>
      <vt:lpstr>Word Embedding: Inglês</vt:lpstr>
      <vt:lpstr>SVM</vt:lpstr>
      <vt:lpstr>LSTM em português com GloVe</vt:lpstr>
      <vt:lpstr>LSTM em inglês com GloVe</vt:lpstr>
      <vt:lpstr>Transformers</vt:lpstr>
      <vt:lpstr>Transformers</vt:lpstr>
      <vt:lpstr>Transformers</vt:lpstr>
      <vt:lpstr>Transformers </vt:lpstr>
      <vt:lpstr>Resultados</vt:lpstr>
      <vt:lpstr>Transformers em inglês usando todas as atas e comunicados</vt:lpstr>
      <vt:lpstr>Desenvolvimentos futuros</vt:lpstr>
      <vt:lpstr>Bibliograf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e de sentimento de documentos do Banco Central</dc:title>
  <dc:creator>Fernando Travaglini</dc:creator>
  <cp:lastModifiedBy>Fernando Travaglini</cp:lastModifiedBy>
  <cp:revision>20</cp:revision>
  <dcterms:created xsi:type="dcterms:W3CDTF">2023-04-03T21:37:08Z</dcterms:created>
  <dcterms:modified xsi:type="dcterms:W3CDTF">2023-07-05T21:50:39Z</dcterms:modified>
</cp:coreProperties>
</file>